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265" r:id="rId5"/>
    <p:sldId id="266" r:id="rId6"/>
    <p:sldId id="267" r:id="rId7"/>
    <p:sldId id="285" r:id="rId8"/>
    <p:sldId id="294" r:id="rId9"/>
    <p:sldId id="298" r:id="rId10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76" autoAdjust="0"/>
    <p:restoredTop sz="87192" autoAdjust="0"/>
  </p:normalViewPr>
  <p:slideViewPr>
    <p:cSldViewPr snapToGrid="0">
      <p:cViewPr varScale="1">
        <p:scale>
          <a:sx n="64" d="100"/>
          <a:sy n="64" d="100"/>
        </p:scale>
        <p:origin x="59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4B4914-4BC0-40D6-B494-059CD6B36C43}" type="datetimeFigureOut">
              <a:rPr lang="en-GB" smtClean="0"/>
              <a:t>16/09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F325B-5E72-4A45-836B-78262F88708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833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FF325B-5E72-4A45-836B-78262F88708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2469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A96E7-760D-39C8-0360-F12410B9CA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AD11716-7F8C-B4D3-A043-F34DBC8A38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DA5852B-3A64-D6CC-BEA0-80F475EDB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9336D-1FD2-4C38-A430-58F0E5EBD6B2}" type="datetime1">
              <a:rPr lang="en-GB" smtClean="0"/>
              <a:t>16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F2B46D3-BCEC-325D-84D8-D46B2FEE9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F640C42-DCDA-D258-C3DD-D1EE7DF3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768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04B15-1981-EB10-3CEB-70B8D5309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6292981-3476-378C-8886-50C6F908E0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94E7D3B-6DF4-18B9-DF73-29B55A590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4F1AE-505E-44DB-B16F-770A1C9E1829}" type="datetime1">
              <a:rPr lang="en-GB" smtClean="0"/>
              <a:t>16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5BD984-1C37-EDD6-091B-847861CC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3AD43A6-8A92-D9EA-7C41-064DE96EC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63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7F028BA7-3335-EB65-8EE9-D9FD90F58E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F76D7C2-4643-0175-8D0D-8A08F79C4E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180F64F-21FA-13A1-0086-5D5CCE1F8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A1900-703C-485D-B470-D8B89415B40B}" type="datetime1">
              <a:rPr lang="en-GB" smtClean="0"/>
              <a:t>16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8DDD6F2-4EF4-EE3F-E2F0-6B9BEE6C8F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95464F-09DC-276C-B920-CFAD15B81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5357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4294656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380521-DBE8-1EF3-16B5-E35D73166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B20D410-FA28-F5E0-A87B-5376267269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6C08E6F-EE84-32CD-2862-3A40EFA3A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1426A3-F4AD-4293-AFC2-E9AF6EE67857}" type="datetime1">
              <a:rPr lang="en-GB" smtClean="0"/>
              <a:t>16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95AB1B4-5F55-BF33-74BF-59DB8EBEE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03BD22B-5377-C7A1-7076-AE461FC5B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145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5E16EC-78E2-8349-9042-60E4DD9FA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59E68D9-73DE-3812-770F-DF9C73328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1B3BBC4-64D5-F0AA-B377-B2AB7E714E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F1CE-8CB1-4B51-8553-1148E5132D89}" type="datetime1">
              <a:rPr lang="en-GB" smtClean="0"/>
              <a:t>16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DAA94C-18C6-C452-D5FB-8AFD130C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D2213CE-31B3-AB17-5AE0-FFC03DDFD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014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9013C7-E812-88E7-EF5E-3637D0A7E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407E528-4416-FE78-D70D-A0A1E3D31B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B4E518-1F59-697F-5FBC-60C01BB710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F1230E1-EEE7-3AE0-FAF8-FF86B83F4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E60D9F-4BF0-4AF4-B217-BEAC3BAA2BAD}" type="datetime1">
              <a:rPr lang="en-GB" smtClean="0"/>
              <a:t>16/09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DF02BC5-3A20-E67A-3D64-FF8D4CA066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A72F93-AE86-D6EC-F536-AA48F25B5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9034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BC6BBF-7CDD-5B4A-60F4-046C404CF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4E49A90-C89D-19D4-C88B-44EA906D0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A88ED1F-8593-0E39-5BFB-BBC733B6DC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3D3EEAD-673B-E033-37CC-D1621A6B97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FBBF8D0F-2B83-4275-2562-3AAFC4C35B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0BEF7515-CBFA-E4FA-8593-974746C00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C69CA-8CA1-4372-A5FE-853D43B71AC7}" type="datetime1">
              <a:rPr lang="en-GB" smtClean="0"/>
              <a:t>16/09/2025</a:t>
            </a:fld>
            <a:endParaRPr lang="en-GB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96CDB05F-B87A-D087-B7FF-F91AD3E64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321ACF4A-BE64-FD9C-1071-FB1E368F8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978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1456FA-68F0-FFC2-8CE7-ED3B3A7DA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C920EE2-9192-DAD0-F1B2-1E141A6FA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219B4-7A02-4791-B438-99CEBDFF47A6}" type="datetime1">
              <a:rPr lang="en-GB" smtClean="0"/>
              <a:t>16/09/2025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551F2BF-9A4B-55C0-3998-6810F0B6A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01E9671-1C8A-2D7C-0441-B3CDE3216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805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72ED49F-0BBB-1039-B49D-10E944180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7309B-B1CB-40E1-9EDC-2F4E570BBA8C}" type="datetime1">
              <a:rPr lang="en-GB" smtClean="0"/>
              <a:t>16/09/2025</a:t>
            </a:fld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A482D11-6271-5357-B21E-0B1512D30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6C40CBD-B6D7-964A-3463-9DFF5ADB4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26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5F14EB-6C73-B2D8-74F2-18CDE3789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38878F-6653-E24C-3A65-8981EB2F3F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092081C-1AB8-6F81-30ED-16D18AE87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5248BD5-8310-D9ED-68F0-4878558E2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67B1B-D816-408B-830C-823037D58C8B}" type="datetime1">
              <a:rPr lang="en-GB" smtClean="0"/>
              <a:t>16/09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48A582F-ED01-4F1E-4BB9-944A1B68E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7806D6A-2379-F87A-B09A-616A0CA77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0237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8A21BC-586A-9ABF-99FA-ACE953D04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AA4E6D0B-FE99-C744-DC33-C1E6152387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8618129-4328-6354-6A5D-A038434F08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99224E7-6339-AF9F-56F0-113C1E934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A0C9F4-411A-4AD9-B610-07BC672A765C}" type="datetime1">
              <a:rPr lang="en-GB" smtClean="0"/>
              <a:t>16/09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BDBCCF5-912F-4E28-05C2-A74E44F4B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1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226D3BE-F139-058B-60A1-C6213B934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066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100E2EC2-7770-0BD3-CAA0-BE4365C65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7CB9C65-E5D3-86BC-9F03-EFA53B3DDD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C46800-C482-26DF-5CA9-0573433E1F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B025A63-9AE2-4214-8C39-D6C288F6896A}" type="datetime1">
              <a:rPr lang="en-GB" smtClean="0"/>
              <a:t>16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4112F35-DD87-7240-8C41-A79FB0413D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TF-AVRS Status Report GRBP-81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6E5C7E9-011D-62FE-EC4E-23C59A8F8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370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unece.org/sites/default/files/2023-01/GRPE-87-23r1e.pdf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display/trans/EPPR+Main+activitie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CH" sz="4000" b="1" dirty="0"/>
              <a:t>Status </a:t>
            </a:r>
            <a:r>
              <a:rPr lang="en-GB" sz="4000" b="1" dirty="0"/>
              <a:t>Report to </a:t>
            </a:r>
            <a:r>
              <a:rPr lang="en-CH" sz="4000" b="1" dirty="0"/>
              <a:t>93</a:t>
            </a:r>
            <a:r>
              <a:rPr lang="en-CH" sz="4000" b="1" baseline="30000" dirty="0"/>
              <a:t>rd</a:t>
            </a:r>
            <a:r>
              <a:rPr lang="en-GB" sz="4000" b="1" dirty="0"/>
              <a:t> Session of GR</a:t>
            </a:r>
            <a:r>
              <a:rPr lang="en-CH" sz="4000" b="1" dirty="0"/>
              <a:t>PE</a:t>
            </a:r>
            <a:br>
              <a:rPr lang="en-GB" sz="4000" b="1" dirty="0"/>
            </a:br>
            <a:r>
              <a:rPr lang="en-GB" sz="4000" b="1" dirty="0"/>
              <a:t>(</a:t>
            </a:r>
            <a:r>
              <a:rPr lang="en-CH" sz="4000" b="1" dirty="0"/>
              <a:t>October</a:t>
            </a:r>
            <a:r>
              <a:rPr lang="en-GB" sz="4000" b="1" dirty="0"/>
              <a:t> 2025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CH" sz="2800" dirty="0"/>
              <a:t>Informal Working Group – Environmental and Propulsion Performance Requirements for L-Category Vehicles</a:t>
            </a:r>
            <a:endParaRPr lang="en-GB" sz="2800" dirty="0"/>
          </a:p>
          <a:p>
            <a:r>
              <a:rPr lang="en-GB" sz="2800" dirty="0"/>
              <a:t>(</a:t>
            </a:r>
            <a:r>
              <a:rPr lang="en-CH" sz="2800" dirty="0"/>
              <a:t>IWG-EPPR</a:t>
            </a:r>
            <a:r>
              <a:rPr lang="en-GB" sz="2800" dirty="0"/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4359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ubmitted by the Chair of </a:t>
            </a:r>
            <a:r>
              <a:rPr lang="en-CH" b="1" dirty="0"/>
              <a:t>the IWG-EPPR</a:t>
            </a:r>
            <a:endParaRPr lang="en-GB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5396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</a:t>
            </a:r>
            <a:r>
              <a:rPr lang="en-CH" b="1" dirty="0"/>
              <a:t>PR</a:t>
            </a:r>
            <a:r>
              <a:rPr lang="en-GB" b="1" dirty="0"/>
              <a:t>-</a:t>
            </a:r>
            <a:r>
              <a:rPr lang="en-CH" b="1" dirty="0"/>
              <a:t>93</a:t>
            </a:r>
            <a:r>
              <a:rPr lang="en-GB" b="1" dirty="0"/>
              <a:t>-</a:t>
            </a:r>
            <a:r>
              <a:rPr lang="en-CH" b="1" dirty="0"/>
              <a:t>xx</a:t>
            </a:r>
            <a:endParaRPr lang="en-GB" b="1" dirty="0"/>
          </a:p>
          <a:p>
            <a:r>
              <a:rPr lang="en-CH" dirty="0"/>
              <a:t>93</a:t>
            </a:r>
            <a:r>
              <a:rPr lang="en-CH" baseline="30000" dirty="0"/>
              <a:t>rd</a:t>
            </a:r>
            <a:r>
              <a:rPr lang="en-GB" dirty="0"/>
              <a:t> GR</a:t>
            </a:r>
            <a:r>
              <a:rPr lang="en-CH" dirty="0"/>
              <a:t>PE</a:t>
            </a:r>
            <a:r>
              <a:rPr lang="en-GB" dirty="0"/>
              <a:t>, </a:t>
            </a:r>
            <a:r>
              <a:rPr lang="en-CH" dirty="0"/>
              <a:t>October 14 - 17</a:t>
            </a:r>
            <a:r>
              <a:rPr lang="en-GB" dirty="0"/>
              <a:t>, 2025, </a:t>
            </a:r>
          </a:p>
          <a:p>
            <a:r>
              <a:rPr lang="en-GB" dirty="0"/>
              <a:t>agenda item </a:t>
            </a:r>
            <a:r>
              <a:rPr lang="en-CH" dirty="0"/>
              <a:t>8 (c) 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6D69AF45-ACD6-DEEA-5AC1-BCFF797F8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1</a:t>
            </a:fld>
            <a:endParaRPr lang="en-GB" dirty="0"/>
          </a:p>
        </p:txBody>
      </p:sp>
      <p:sp>
        <p:nvSpPr>
          <p:cNvPr id="10" name="Tijdelijke aanduiding voor voettekst 5">
            <a:extLst>
              <a:ext uri="{FF2B5EF4-FFF2-40B4-BE49-F238E27FC236}">
                <a16:creationId xmlns:a16="http://schemas.microsoft.com/office/drawing/2014/main" id="{D9190F55-6235-4BD0-6505-3CB1D044CC37}"/>
              </a:ext>
            </a:extLst>
          </p:cNvPr>
          <p:cNvSpPr txBox="1">
            <a:spLocks/>
          </p:cNvSpPr>
          <p:nvPr/>
        </p:nvSpPr>
        <p:spPr>
          <a:xfrm>
            <a:off x="0" y="6396106"/>
            <a:ext cx="12192000" cy="461894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IWG-EPPR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 Status Report </a:t>
            </a:r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93/GRPE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391991"/>
          </a:xfrm>
        </p:spPr>
        <p:txBody>
          <a:bodyPr vert="horz"/>
          <a:lstStyle/>
          <a:p>
            <a:pPr algn="ctr"/>
            <a:r>
              <a:rPr lang="en-CH" sz="3600" b="1" dirty="0"/>
              <a:t>IWG-EPPR – Meetings and Participants</a:t>
            </a:r>
            <a:endParaRPr lang="en-GB" sz="3600" b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288235" y="2014688"/>
            <a:ext cx="5562377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</a:t>
            </a:r>
            <a:r>
              <a:rPr lang="en-CH" sz="2000" b="1" dirty="0"/>
              <a:t> since last GRPE session</a:t>
            </a:r>
            <a:r>
              <a:rPr lang="en-US" sz="2000" b="1" dirty="0"/>
              <a:t>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>
            <a:cxnSpLocks/>
          </p:cNvCxnSpPr>
          <p:nvPr/>
        </p:nvCxnSpPr>
        <p:spPr>
          <a:xfrm>
            <a:off x="288234" y="2715423"/>
            <a:ext cx="5168349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288234" y="2868880"/>
            <a:ext cx="5075136" cy="261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CH" sz="1600" dirty="0">
                <a:ea typeface="Calibri" panose="020F0502020204030204" pitchFamily="34" charset="0"/>
              </a:rPr>
              <a:t>68/EPPR: May 28, 2025 </a:t>
            </a:r>
            <a:r>
              <a:rPr lang="en-US" sz="1600" dirty="0">
                <a:effectLst/>
                <a:ea typeface="Calibri" panose="020F0502020204030204" pitchFamily="34" charset="0"/>
              </a:rPr>
              <a:t>(</a:t>
            </a:r>
            <a:r>
              <a:rPr lang="en-CH" sz="1600" dirty="0">
                <a:effectLst/>
                <a:ea typeface="Calibri" panose="020F0502020204030204" pitchFamily="34" charset="0"/>
              </a:rPr>
              <a:t>online meeting</a:t>
            </a:r>
            <a:r>
              <a:rPr lang="en-US" sz="1600" dirty="0">
                <a:effectLst/>
                <a:ea typeface="Calibri" panose="020F0502020204030204" pitchFamily="34" charset="0"/>
              </a:rPr>
              <a:t>)</a:t>
            </a:r>
            <a:endParaRPr lang="en-CH" sz="16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CH" sz="1600" dirty="0">
                <a:effectLst/>
                <a:ea typeface="Calibri" panose="020F0502020204030204" pitchFamily="34" charset="0"/>
              </a:rPr>
              <a:t>69/EPPR: June 30, 2025 (online meeting)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CH" sz="1600" dirty="0">
                <a:ea typeface="Calibri" panose="020F0502020204030204" pitchFamily="34" charset="0"/>
              </a:rPr>
              <a:t>70/EPPR: September 18, 2025 (online meeting)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CH" sz="1600" dirty="0">
                <a:ea typeface="Calibri" panose="020F0502020204030204" pitchFamily="34" charset="0"/>
              </a:rPr>
              <a:t>71/EPPR: October 14, 2025 (in-person meeting, in conju</a:t>
            </a:r>
            <a:r>
              <a:rPr lang="en-GB" sz="1600" dirty="0">
                <a:ea typeface="Calibri" panose="020F0502020204030204" pitchFamily="34" charset="0"/>
              </a:rPr>
              <a:t>n</a:t>
            </a:r>
            <a:r>
              <a:rPr lang="en-CH" sz="1600" dirty="0">
                <a:ea typeface="Calibri" panose="020F0502020204030204" pitchFamily="34" charset="0"/>
              </a:rPr>
              <a:t>ction with 93/GRPE)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endParaRPr lang="en-CH" sz="1600" dirty="0"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endParaRPr lang="en-CH" sz="1600" dirty="0"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CH" sz="1600" dirty="0">
                <a:ea typeface="Calibri" panose="020F0502020204030204" pitchFamily="34" charset="0"/>
              </a:rPr>
              <a:t>[TBD]</a:t>
            </a:r>
            <a:endParaRPr lang="en-US" sz="1600" dirty="0">
              <a:effectLst/>
              <a:ea typeface="Calibri" panose="020F0502020204030204" pitchFamily="34" charset="0"/>
            </a:endParaRP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731600" y="2835982"/>
            <a:ext cx="4547355" cy="142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H" sz="1600" b="1" dirty="0">
                <a:solidFill>
                  <a:schemeClr val="accent4"/>
                </a:solidFill>
              </a:rPr>
              <a:t>Contracting Parties</a:t>
            </a:r>
            <a:br>
              <a:rPr lang="de-DE" sz="1600" dirty="0"/>
            </a:br>
            <a:r>
              <a:rPr lang="en-CH" sz="1600" dirty="0"/>
              <a:t>China, </a:t>
            </a:r>
            <a:r>
              <a:rPr lang="de-DE" sz="1600" dirty="0"/>
              <a:t>Japan</a:t>
            </a:r>
            <a:r>
              <a:rPr lang="en-CH" sz="1600" dirty="0"/>
              <a:t> (MLIT</a:t>
            </a:r>
            <a:r>
              <a:rPr lang="de-DE" sz="1600" dirty="0"/>
              <a:t>,</a:t>
            </a:r>
            <a:r>
              <a:rPr lang="en-CH" sz="1600" dirty="0"/>
              <a:t> MOE, JASIC), South-Africa, Malaysia</a:t>
            </a:r>
            <a:r>
              <a:rPr lang="de-DE" sz="1600" dirty="0"/>
              <a:t>, </a:t>
            </a:r>
            <a:r>
              <a:rPr lang="en-CH" sz="1600" dirty="0"/>
              <a:t>The </a:t>
            </a:r>
            <a:r>
              <a:rPr lang="de-DE" sz="1600" dirty="0"/>
              <a:t>Netherlands</a:t>
            </a:r>
          </a:p>
          <a:p>
            <a:r>
              <a:rPr lang="en-GB" sz="1600" b="1" dirty="0">
                <a:solidFill>
                  <a:schemeClr val="accent4"/>
                </a:solidFill>
              </a:rPr>
              <a:t>NGOs: </a:t>
            </a:r>
            <a:br>
              <a:rPr lang="de-DE" sz="1600" dirty="0"/>
            </a:br>
            <a:r>
              <a:rPr lang="en-CH" sz="1600" dirty="0"/>
              <a:t>IMMA, CLEPA, AECC, MECA</a:t>
            </a:r>
            <a:endParaRPr lang="de-DE" sz="16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8856" y="2308168"/>
            <a:ext cx="4888900" cy="344128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>
            <a:cxnSpLocks/>
          </p:cNvCxnSpPr>
          <p:nvPr/>
        </p:nvCxnSpPr>
        <p:spPr>
          <a:xfrm>
            <a:off x="6731601" y="2701509"/>
            <a:ext cx="4547354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jdelijke aanduiding voor voettekst 5">
            <a:extLst>
              <a:ext uri="{FF2B5EF4-FFF2-40B4-BE49-F238E27FC236}">
                <a16:creationId xmlns:a16="http://schemas.microsoft.com/office/drawing/2014/main" id="{E5AE2673-2B6C-1A45-A188-7EEFA5483A8D}"/>
              </a:ext>
            </a:extLst>
          </p:cNvPr>
          <p:cNvSpPr txBox="1">
            <a:spLocks/>
          </p:cNvSpPr>
          <p:nvPr/>
        </p:nvSpPr>
        <p:spPr>
          <a:xfrm>
            <a:off x="0" y="6396106"/>
            <a:ext cx="12192000" cy="461894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IWG-EPPR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 Status Report </a:t>
            </a:r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93/GRPE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9AC61EF-248C-ED47-2C5D-4D2627ABBFD0}"/>
              </a:ext>
            </a:extLst>
          </p:cNvPr>
          <p:cNvSpPr txBox="1">
            <a:spLocks/>
          </p:cNvSpPr>
          <p:nvPr/>
        </p:nvSpPr>
        <p:spPr>
          <a:xfrm>
            <a:off x="288233" y="4445218"/>
            <a:ext cx="5562377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</a:t>
            </a:r>
            <a:r>
              <a:rPr lang="en-CH" sz="2000" b="1" dirty="0"/>
              <a:t>ext Meetings</a:t>
            </a:r>
            <a:endParaRPr lang="de-DE" sz="2000" b="1" dirty="0"/>
          </a:p>
        </p:txBody>
      </p:sp>
      <p:cxnSp>
        <p:nvCxnSpPr>
          <p:cNvPr id="14" name="Gerader Verbinder 26">
            <a:extLst>
              <a:ext uri="{FF2B5EF4-FFF2-40B4-BE49-F238E27FC236}">
                <a16:creationId xmlns:a16="http://schemas.microsoft.com/office/drawing/2014/main" id="{1CAB9F52-B484-4EB9-FC4F-8ABA8C4A8548}"/>
              </a:ext>
            </a:extLst>
          </p:cNvPr>
          <p:cNvCxnSpPr>
            <a:cxnSpLocks/>
          </p:cNvCxnSpPr>
          <p:nvPr/>
        </p:nvCxnSpPr>
        <p:spPr>
          <a:xfrm>
            <a:off x="288234" y="5097123"/>
            <a:ext cx="5168349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jdelijke aanduiding voor dianummer 7">
            <a:extLst>
              <a:ext uri="{FF2B5EF4-FFF2-40B4-BE49-F238E27FC236}">
                <a16:creationId xmlns:a16="http://schemas.microsoft.com/office/drawing/2014/main" id="{6EF04B6B-E39A-EBD5-BAD7-4E0F7846D51C}"/>
              </a:ext>
            </a:extLst>
          </p:cNvPr>
          <p:cNvSpPr txBox="1">
            <a:spLocks/>
          </p:cNvSpPr>
          <p:nvPr/>
        </p:nvSpPr>
        <p:spPr>
          <a:xfrm>
            <a:off x="8630478" y="6444980"/>
            <a:ext cx="2743200" cy="259558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B72E1402-C48D-4BE1-B5C4-3ED179C88C9E}" type="slidenum">
              <a:rPr lang="en-GB" sz="1200" smtClean="0">
                <a:solidFill>
                  <a:schemeClr val="bg1">
                    <a:lumMod val="50000"/>
                  </a:schemeClr>
                </a:solidFill>
              </a:rPr>
              <a:pPr marL="0" indent="0" algn="r">
                <a:buNone/>
              </a:pPr>
              <a:t>2</a:t>
            </a:fld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412262"/>
          </a:xfrm>
        </p:spPr>
        <p:txBody>
          <a:bodyPr vert="horz">
            <a:normAutofit/>
          </a:bodyPr>
          <a:lstStyle/>
          <a:p>
            <a:pPr algn="ctr"/>
            <a:r>
              <a:rPr lang="en-CH" sz="3600" b="1" dirty="0"/>
              <a:t>IWG-EPPR Overview</a:t>
            </a:r>
            <a:endParaRPr lang="de-DE" sz="3600" b="1" dirty="0"/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22947" y="2596471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22947" y="4078976"/>
            <a:ext cx="941221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22947" y="2724933"/>
            <a:ext cx="3024000" cy="1232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H" sz="1600" b="1" dirty="0"/>
              <a:t>Items on Agenda</a:t>
            </a:r>
            <a:endParaRPr lang="de-DE" sz="1600" b="1" dirty="0"/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39046" y="1412262"/>
            <a:ext cx="6196119" cy="113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Chair: </a:t>
            </a:r>
            <a:r>
              <a:rPr lang="en-US" sz="1600" dirty="0"/>
              <a:t>		</a:t>
            </a:r>
            <a:r>
              <a:rPr lang="en-CH" sz="1600" dirty="0"/>
              <a:t>The </a:t>
            </a:r>
            <a:r>
              <a:rPr lang="en-US" sz="1600" dirty="0"/>
              <a:t>Netherlands</a:t>
            </a:r>
            <a:endParaRPr lang="en-CH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600" b="1" dirty="0"/>
              <a:t>Co-Chair:</a:t>
            </a:r>
            <a:r>
              <a:rPr lang="en-CH" sz="1600" dirty="0"/>
              <a:t>	vaca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Secretariat: </a:t>
            </a:r>
            <a:r>
              <a:rPr lang="en-US" sz="1600" dirty="0"/>
              <a:t>	</a:t>
            </a:r>
            <a:r>
              <a:rPr lang="en-CH" sz="1600" dirty="0"/>
              <a:t>IMMA</a:t>
            </a:r>
            <a:r>
              <a:rPr lang="en-US" sz="1600" dirty="0"/>
              <a:t> </a:t>
            </a:r>
            <a:endParaRPr lang="en-US" sz="1600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22947" y="1427871"/>
            <a:ext cx="3024000" cy="10471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39046" y="4222402"/>
            <a:ext cx="6426198" cy="537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hlinkClick r:id="rId6"/>
              </a:rPr>
              <a:t>https://wiki.unece.org/display/trans/EPPR+Main+activities</a:t>
            </a:r>
            <a:r>
              <a:rPr lang="en-CH" sz="1600" dirty="0"/>
              <a:t> </a:t>
            </a:r>
            <a:endParaRPr lang="de-DE" sz="160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31738" y="4222402"/>
            <a:ext cx="3024000" cy="5376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H" sz="1600" b="1" dirty="0"/>
              <a:t>IWG EPPR </a:t>
            </a:r>
            <a:r>
              <a:rPr lang="de-DE" sz="1600" b="1" dirty="0"/>
              <a:t>wiki</a:t>
            </a:r>
            <a:r>
              <a:rPr lang="en-GB" sz="1600" b="1" dirty="0"/>
              <a:t>pag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CEDAF56-CEDA-A526-89E6-6CA14175A70E}"/>
              </a:ext>
            </a:extLst>
          </p:cNvPr>
          <p:cNvSpPr txBox="1">
            <a:spLocks/>
          </p:cNvSpPr>
          <p:nvPr/>
        </p:nvSpPr>
        <p:spPr bwMode="gray">
          <a:xfrm>
            <a:off x="4139047" y="2719965"/>
            <a:ext cx="6196119" cy="1277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600" dirty="0"/>
              <a:t>Transposition of UN-GTR No.2 into UN-Regulation No. 4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600" dirty="0"/>
              <a:t>Maximum Power Determ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600" dirty="0"/>
              <a:t>BEV Range Determ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600" dirty="0"/>
              <a:t>Deterioration Factors in UN-GTR No.23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37968CE6-0F49-A829-DE59-2814095FA3C1}"/>
              </a:ext>
            </a:extLst>
          </p:cNvPr>
          <p:cNvSpPr txBox="1">
            <a:spLocks/>
          </p:cNvSpPr>
          <p:nvPr/>
        </p:nvSpPr>
        <p:spPr bwMode="gray">
          <a:xfrm>
            <a:off x="931738" y="5008729"/>
            <a:ext cx="3024000" cy="5376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H" sz="1600" b="1" dirty="0"/>
              <a:t>Terms of Reference</a:t>
            </a:r>
            <a:endParaRPr lang="en-GB" sz="1600" b="1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EF17B4D-3D26-AE20-9531-3863C5F62280}"/>
              </a:ext>
            </a:extLst>
          </p:cNvPr>
          <p:cNvSpPr txBox="1">
            <a:spLocks/>
          </p:cNvSpPr>
          <p:nvPr/>
        </p:nvSpPr>
        <p:spPr bwMode="gray">
          <a:xfrm>
            <a:off x="4139046" y="5033482"/>
            <a:ext cx="6426198" cy="537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hlinkClick r:id="rId7"/>
              </a:rPr>
              <a:t>GRPE-87-23-Rev.1</a:t>
            </a:r>
            <a:r>
              <a:rPr lang="en-CH" sz="1600" dirty="0"/>
              <a:t> – To be renew</a:t>
            </a:r>
            <a:r>
              <a:rPr lang="en-GB" sz="1600" dirty="0"/>
              <a:t>e</a:t>
            </a:r>
            <a:r>
              <a:rPr lang="en-CH" sz="1600" dirty="0"/>
              <a:t>d at 93/GRPE (October 2025) </a:t>
            </a:r>
            <a:endParaRPr lang="de-DE" sz="1600" dirty="0"/>
          </a:p>
        </p:txBody>
      </p:sp>
      <p:cxnSp>
        <p:nvCxnSpPr>
          <p:cNvPr id="10" name="Gerader Verbinder 11">
            <a:extLst>
              <a:ext uri="{FF2B5EF4-FFF2-40B4-BE49-F238E27FC236}">
                <a16:creationId xmlns:a16="http://schemas.microsoft.com/office/drawing/2014/main" id="{FE86903A-0F9A-4102-08AB-8594AEBDA67F}"/>
              </a:ext>
            </a:extLst>
          </p:cNvPr>
          <p:cNvCxnSpPr>
            <a:cxnSpLocks/>
          </p:cNvCxnSpPr>
          <p:nvPr/>
        </p:nvCxnSpPr>
        <p:spPr>
          <a:xfrm>
            <a:off x="922946" y="4900388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voettekst 5">
            <a:extLst>
              <a:ext uri="{FF2B5EF4-FFF2-40B4-BE49-F238E27FC236}">
                <a16:creationId xmlns:a16="http://schemas.microsoft.com/office/drawing/2014/main" id="{7CFDD42D-AAE2-F3D5-507B-B9464F1E77F6}"/>
              </a:ext>
            </a:extLst>
          </p:cNvPr>
          <p:cNvSpPr txBox="1">
            <a:spLocks/>
          </p:cNvSpPr>
          <p:nvPr/>
        </p:nvSpPr>
        <p:spPr>
          <a:xfrm>
            <a:off x="0" y="6396106"/>
            <a:ext cx="12192000" cy="461894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IWG-EPPR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 Status Report </a:t>
            </a:r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93/GRPE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23CA6B5-826D-7688-5F39-411F78DD0C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21905"/>
            <a:ext cx="10631750" cy="5074202"/>
          </a:xfrm>
        </p:spPr>
        <p:txBody>
          <a:bodyPr>
            <a:normAutofit/>
          </a:bodyPr>
          <a:lstStyle/>
          <a:p>
            <a:r>
              <a:rPr lang="en-CH" sz="2400" dirty="0"/>
              <a:t>Transposition of UN-GTR No.2 into the 02 series of amendments of UN-Regulation No.40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CH" sz="1800" dirty="0"/>
              <a:t>Revision of the draft within IWG-EPPR meetings, since the informal submission on March.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CH" sz="1800" dirty="0"/>
              <a:t>Few editorial comments received by GRPE experts that were integrated in the draft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CH" sz="1800" dirty="0"/>
              <a:t>Formal document submitted on 93/GRPE (October 2025).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CH" sz="1800" dirty="0"/>
              <a:t>The transposition work will continue with the 03 series (Euro 4 level) in case of </a:t>
            </a:r>
            <a:r>
              <a:rPr lang="en-CH" sz="1800" dirty="0" err="1"/>
              <a:t>GRPE’s</a:t>
            </a:r>
            <a:r>
              <a:rPr lang="en-CH" sz="1800" dirty="0"/>
              <a:t> adoption of the 02 series</a:t>
            </a:r>
          </a:p>
          <a:p>
            <a:pPr marL="228600" lvl="1">
              <a:spcBef>
                <a:spcPts val="1000"/>
              </a:spcBef>
            </a:pPr>
            <a:r>
              <a:rPr lang="en-GB" dirty="0"/>
              <a:t>N</a:t>
            </a:r>
            <a:r>
              <a:rPr lang="en-CH" dirty="0"/>
              <a:t>o concrete proposal to date on other agenda items.</a:t>
            </a:r>
          </a:p>
          <a:p>
            <a:pPr lvl="1"/>
            <a:endParaRPr lang="en-US" sz="1400" dirty="0"/>
          </a:p>
          <a:p>
            <a:endParaRPr lang="en-GB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48E16D8-0247-16AF-7461-E614B3107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D60F4C68-5AC2-9D16-A5A7-D7F3003E7BE5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12192000" cy="14122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H" sz="3600" b="1" dirty="0"/>
              <a:t>Progress within the IWG-EPPR</a:t>
            </a:r>
            <a:endParaRPr lang="de-DE" sz="3600" b="1" dirty="0"/>
          </a:p>
        </p:txBody>
      </p:sp>
      <p:sp>
        <p:nvSpPr>
          <p:cNvPr id="10" name="Tijdelijke aanduiding voor voettekst 5">
            <a:extLst>
              <a:ext uri="{FF2B5EF4-FFF2-40B4-BE49-F238E27FC236}">
                <a16:creationId xmlns:a16="http://schemas.microsoft.com/office/drawing/2014/main" id="{53664DF3-28DB-B101-AA07-4140EB8DC10E}"/>
              </a:ext>
            </a:extLst>
          </p:cNvPr>
          <p:cNvSpPr txBox="1">
            <a:spLocks/>
          </p:cNvSpPr>
          <p:nvPr/>
        </p:nvSpPr>
        <p:spPr>
          <a:xfrm>
            <a:off x="0" y="6396106"/>
            <a:ext cx="12192000" cy="461894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IWG-EPPR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 Status Report </a:t>
            </a:r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93/GRPE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301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69E42368-E4CF-1E30-61E8-3C2847164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5</a:t>
            </a:fld>
            <a:endParaRPr lang="en-GB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CBEE804B-3D0D-B38C-9691-2238AF779AC9}"/>
              </a:ext>
            </a:extLst>
          </p:cNvPr>
          <p:cNvSpPr txBox="1">
            <a:spLocks/>
          </p:cNvSpPr>
          <p:nvPr/>
        </p:nvSpPr>
        <p:spPr>
          <a:xfrm>
            <a:off x="0" y="6396106"/>
            <a:ext cx="12192000" cy="461894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IWG-EPPR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 Status Report </a:t>
            </a:r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93/GRPE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3EB9310-6EA9-D000-CF69-46A74A6B806C}"/>
              </a:ext>
            </a:extLst>
          </p:cNvPr>
          <p:cNvSpPr txBox="1">
            <a:spLocks/>
          </p:cNvSpPr>
          <p:nvPr/>
        </p:nvSpPr>
        <p:spPr>
          <a:xfrm>
            <a:off x="0" y="10315"/>
            <a:ext cx="12192000" cy="14019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H" sz="3600" b="1" dirty="0"/>
              <a:t>Planning</a:t>
            </a:r>
            <a:endParaRPr lang="de-DE" sz="3600" b="1" dirty="0"/>
          </a:p>
        </p:txBody>
      </p:sp>
      <p:sp>
        <p:nvSpPr>
          <p:cNvPr id="10" name="Flowchart: Merge 9">
            <a:extLst>
              <a:ext uri="{FF2B5EF4-FFF2-40B4-BE49-F238E27FC236}">
                <a16:creationId xmlns:a16="http://schemas.microsoft.com/office/drawing/2014/main" id="{C1B1DD0C-F5F4-56E1-2FE3-AC19E803F3FA}"/>
              </a:ext>
            </a:extLst>
          </p:cNvPr>
          <p:cNvSpPr/>
          <p:nvPr/>
        </p:nvSpPr>
        <p:spPr>
          <a:xfrm>
            <a:off x="2802834" y="2136914"/>
            <a:ext cx="467140" cy="347869"/>
          </a:xfrm>
          <a:prstGeom prst="flowChartMerg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1" name="Flowchart: Merge 10">
            <a:extLst>
              <a:ext uri="{FF2B5EF4-FFF2-40B4-BE49-F238E27FC236}">
                <a16:creationId xmlns:a16="http://schemas.microsoft.com/office/drawing/2014/main" id="{99D18F0A-C190-E2A8-B660-342FF7E75B2B}"/>
              </a:ext>
            </a:extLst>
          </p:cNvPr>
          <p:cNvSpPr/>
          <p:nvPr/>
        </p:nvSpPr>
        <p:spPr>
          <a:xfrm>
            <a:off x="4396409" y="2146853"/>
            <a:ext cx="467140" cy="347869"/>
          </a:xfrm>
          <a:prstGeom prst="flowChartMerg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DC47918-46FC-602C-D85C-E75D18A5981A}"/>
              </a:ext>
            </a:extLst>
          </p:cNvPr>
          <p:cNvCxnSpPr>
            <a:cxnSpLocks/>
          </p:cNvCxnSpPr>
          <p:nvPr/>
        </p:nvCxnSpPr>
        <p:spPr>
          <a:xfrm flipV="1">
            <a:off x="397565" y="2484781"/>
            <a:ext cx="10764078" cy="198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EC723502-E931-ADFC-ADF2-56870C33EDF3}"/>
              </a:ext>
            </a:extLst>
          </p:cNvPr>
          <p:cNvSpPr/>
          <p:nvPr/>
        </p:nvSpPr>
        <p:spPr>
          <a:xfrm>
            <a:off x="6316315" y="2136912"/>
            <a:ext cx="467140" cy="347869"/>
          </a:xfrm>
          <a:prstGeom prst="flowChartMerg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5" name="Flowchart: Merge 14">
            <a:extLst>
              <a:ext uri="{FF2B5EF4-FFF2-40B4-BE49-F238E27FC236}">
                <a16:creationId xmlns:a16="http://schemas.microsoft.com/office/drawing/2014/main" id="{BB5007D3-FBE2-A4C8-8294-18474AF7BCF2}"/>
              </a:ext>
            </a:extLst>
          </p:cNvPr>
          <p:cNvSpPr/>
          <p:nvPr/>
        </p:nvSpPr>
        <p:spPr>
          <a:xfrm>
            <a:off x="8377030" y="2136912"/>
            <a:ext cx="467140" cy="347869"/>
          </a:xfrm>
          <a:prstGeom prst="flowChartMerg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7B8658-4937-79FE-B84D-8ABC11C934D7}"/>
              </a:ext>
            </a:extLst>
          </p:cNvPr>
          <p:cNvSpPr txBox="1"/>
          <p:nvPr/>
        </p:nvSpPr>
        <p:spPr>
          <a:xfrm>
            <a:off x="2469873" y="2554021"/>
            <a:ext cx="1133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March 202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2946E9C-EBA4-6482-C057-87F2E56C76BF}"/>
              </a:ext>
            </a:extLst>
          </p:cNvPr>
          <p:cNvSpPr txBox="1"/>
          <p:nvPr/>
        </p:nvSpPr>
        <p:spPr>
          <a:xfrm>
            <a:off x="3978138" y="2554021"/>
            <a:ext cx="13036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October 202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EC01379-6D27-4922-38F6-BC5D04DFCB4A}"/>
              </a:ext>
            </a:extLst>
          </p:cNvPr>
          <p:cNvSpPr txBox="1"/>
          <p:nvPr/>
        </p:nvSpPr>
        <p:spPr>
          <a:xfrm>
            <a:off x="5777120" y="2563956"/>
            <a:ext cx="1133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March 2026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7ABDE7-0902-BCF4-CAD7-93C42C950256}"/>
              </a:ext>
            </a:extLst>
          </p:cNvPr>
          <p:cNvSpPr txBox="1"/>
          <p:nvPr/>
        </p:nvSpPr>
        <p:spPr>
          <a:xfrm>
            <a:off x="7958759" y="2579004"/>
            <a:ext cx="13036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October 202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A997D8-E717-5205-19BD-E5E8198F3F09}"/>
              </a:ext>
            </a:extLst>
          </p:cNvPr>
          <p:cNvSpPr txBox="1"/>
          <p:nvPr/>
        </p:nvSpPr>
        <p:spPr>
          <a:xfrm>
            <a:off x="2599496" y="1779778"/>
            <a:ext cx="8833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400" dirty="0"/>
              <a:t>92/GRP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1D5BD9E-10DD-EB88-7384-0C14B3122C13}"/>
              </a:ext>
            </a:extLst>
          </p:cNvPr>
          <p:cNvSpPr txBox="1"/>
          <p:nvPr/>
        </p:nvSpPr>
        <p:spPr>
          <a:xfrm>
            <a:off x="4240282" y="1764734"/>
            <a:ext cx="9040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400" dirty="0"/>
              <a:t>93/GRP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6936EA-FAE3-9EFE-139D-82018E58C78B}"/>
              </a:ext>
            </a:extLst>
          </p:cNvPr>
          <p:cNvSpPr txBox="1"/>
          <p:nvPr/>
        </p:nvSpPr>
        <p:spPr>
          <a:xfrm>
            <a:off x="5679541" y="1651406"/>
            <a:ext cx="675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400" dirty="0"/>
              <a:t>198/</a:t>
            </a:r>
            <a:br>
              <a:rPr lang="en-CH" sz="1400" dirty="0"/>
            </a:br>
            <a:r>
              <a:rPr lang="en-CH" sz="1400" dirty="0"/>
              <a:t>WP.29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BDB1485-D420-6C19-645A-828C46AAF874}"/>
              </a:ext>
            </a:extLst>
          </p:cNvPr>
          <p:cNvSpPr txBox="1"/>
          <p:nvPr/>
        </p:nvSpPr>
        <p:spPr>
          <a:xfrm>
            <a:off x="8263972" y="1774471"/>
            <a:ext cx="8833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400" dirty="0"/>
              <a:t>95/GRPE</a:t>
            </a:r>
          </a:p>
        </p:txBody>
      </p:sp>
      <p:sp>
        <p:nvSpPr>
          <p:cNvPr id="25" name="Scroll: Vertical 24">
            <a:extLst>
              <a:ext uri="{FF2B5EF4-FFF2-40B4-BE49-F238E27FC236}">
                <a16:creationId xmlns:a16="http://schemas.microsoft.com/office/drawing/2014/main" id="{AE2649A7-5232-5AE8-8204-9D4F7F46B602}"/>
              </a:ext>
            </a:extLst>
          </p:cNvPr>
          <p:cNvSpPr/>
          <p:nvPr/>
        </p:nvSpPr>
        <p:spPr>
          <a:xfrm>
            <a:off x="2853666" y="3088997"/>
            <a:ext cx="387627" cy="456296"/>
          </a:xfrm>
          <a:prstGeom prst="verticalScroll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6" name="Scroll: Vertical 25">
            <a:extLst>
              <a:ext uri="{FF2B5EF4-FFF2-40B4-BE49-F238E27FC236}">
                <a16:creationId xmlns:a16="http://schemas.microsoft.com/office/drawing/2014/main" id="{25625B31-23B7-A720-F59D-7813758B33D4}"/>
              </a:ext>
            </a:extLst>
          </p:cNvPr>
          <p:cNvSpPr/>
          <p:nvPr/>
        </p:nvSpPr>
        <p:spPr>
          <a:xfrm>
            <a:off x="4421463" y="3088997"/>
            <a:ext cx="387627" cy="456296"/>
          </a:xfrm>
          <a:prstGeom prst="verticalScroll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7" name="Scroll: Vertical 26">
            <a:extLst>
              <a:ext uri="{FF2B5EF4-FFF2-40B4-BE49-F238E27FC236}">
                <a16:creationId xmlns:a16="http://schemas.microsoft.com/office/drawing/2014/main" id="{586E2D27-94F6-6103-1193-A9C2D7AE7EAC}"/>
              </a:ext>
            </a:extLst>
          </p:cNvPr>
          <p:cNvSpPr/>
          <p:nvPr/>
        </p:nvSpPr>
        <p:spPr>
          <a:xfrm>
            <a:off x="119682" y="5664985"/>
            <a:ext cx="387627" cy="456296"/>
          </a:xfrm>
          <a:prstGeom prst="verticalScroll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8" name="Scroll: Vertical 27">
            <a:extLst>
              <a:ext uri="{FF2B5EF4-FFF2-40B4-BE49-F238E27FC236}">
                <a16:creationId xmlns:a16="http://schemas.microsoft.com/office/drawing/2014/main" id="{A5902144-72DA-B792-5C3F-148D2ECEDFC9}"/>
              </a:ext>
            </a:extLst>
          </p:cNvPr>
          <p:cNvSpPr/>
          <p:nvPr/>
        </p:nvSpPr>
        <p:spPr>
          <a:xfrm>
            <a:off x="89451" y="6213738"/>
            <a:ext cx="387627" cy="456296"/>
          </a:xfrm>
          <a:prstGeom prst="verticalScroll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F1357D-709B-F44C-A5FE-FC7E4EA4AE6E}"/>
              </a:ext>
            </a:extLst>
          </p:cNvPr>
          <p:cNvSpPr txBox="1"/>
          <p:nvPr/>
        </p:nvSpPr>
        <p:spPr>
          <a:xfrm>
            <a:off x="550790" y="6305876"/>
            <a:ext cx="163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Formal Docume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1555EF-0AC9-73F5-DA64-B860D97B26F0}"/>
              </a:ext>
            </a:extLst>
          </p:cNvPr>
          <p:cNvSpPr txBox="1"/>
          <p:nvPr/>
        </p:nvSpPr>
        <p:spPr>
          <a:xfrm>
            <a:off x="561141" y="5768726"/>
            <a:ext cx="18147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Informal Document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99AF86-4790-2048-C965-D0ABE18C35F9}"/>
              </a:ext>
            </a:extLst>
          </p:cNvPr>
          <p:cNvCxnSpPr>
            <a:cxnSpLocks/>
          </p:cNvCxnSpPr>
          <p:nvPr/>
        </p:nvCxnSpPr>
        <p:spPr>
          <a:xfrm>
            <a:off x="2295939" y="1412262"/>
            <a:ext cx="0" cy="34280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0F542622-F982-4833-A492-A23D05BC0567}"/>
              </a:ext>
            </a:extLst>
          </p:cNvPr>
          <p:cNvSpPr txBox="1"/>
          <p:nvPr/>
        </p:nvSpPr>
        <p:spPr>
          <a:xfrm>
            <a:off x="229013" y="3176526"/>
            <a:ext cx="18147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UN-R40.02 (Euro 3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67A4255-C67B-B0E4-2843-0976C93EB9C5}"/>
              </a:ext>
            </a:extLst>
          </p:cNvPr>
          <p:cNvSpPr txBox="1"/>
          <p:nvPr/>
        </p:nvSpPr>
        <p:spPr>
          <a:xfrm>
            <a:off x="225696" y="4115036"/>
            <a:ext cx="18147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UN-R40.03 (Euro 4)</a:t>
            </a:r>
          </a:p>
        </p:txBody>
      </p:sp>
      <p:sp>
        <p:nvSpPr>
          <p:cNvPr id="36" name="Scroll: Vertical 35">
            <a:extLst>
              <a:ext uri="{FF2B5EF4-FFF2-40B4-BE49-F238E27FC236}">
                <a16:creationId xmlns:a16="http://schemas.microsoft.com/office/drawing/2014/main" id="{501DE2C5-F5A4-00E7-D3EE-FD6D1952CC97}"/>
              </a:ext>
            </a:extLst>
          </p:cNvPr>
          <p:cNvSpPr/>
          <p:nvPr/>
        </p:nvSpPr>
        <p:spPr>
          <a:xfrm>
            <a:off x="6348299" y="4069336"/>
            <a:ext cx="387627" cy="456296"/>
          </a:xfrm>
          <a:prstGeom prst="verticalScroll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H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37" name="Scroll: Vertical 36">
            <a:extLst>
              <a:ext uri="{FF2B5EF4-FFF2-40B4-BE49-F238E27FC236}">
                <a16:creationId xmlns:a16="http://schemas.microsoft.com/office/drawing/2014/main" id="{C5090F56-75A7-CD5E-AD4E-317363847E22}"/>
              </a:ext>
            </a:extLst>
          </p:cNvPr>
          <p:cNvSpPr/>
          <p:nvPr/>
        </p:nvSpPr>
        <p:spPr>
          <a:xfrm>
            <a:off x="8404362" y="4049590"/>
            <a:ext cx="387627" cy="456296"/>
          </a:xfrm>
          <a:prstGeom prst="verticalScroll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H" dirty="0">
                <a:solidFill>
                  <a:schemeClr val="tx1"/>
                </a:solidFill>
              </a:rPr>
              <a:t>?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B6E7C8D-8C6F-E2E6-F9F5-22990596F32D}"/>
              </a:ext>
            </a:extLst>
          </p:cNvPr>
          <p:cNvCxnSpPr>
            <a:cxnSpLocks/>
          </p:cNvCxnSpPr>
          <p:nvPr/>
        </p:nvCxnSpPr>
        <p:spPr>
          <a:xfrm>
            <a:off x="308113" y="3756991"/>
            <a:ext cx="107541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6F1F95-70E8-758E-1625-ABC1706204E2}"/>
              </a:ext>
            </a:extLst>
          </p:cNvPr>
          <p:cNvCxnSpPr>
            <a:cxnSpLocks/>
          </p:cNvCxnSpPr>
          <p:nvPr/>
        </p:nvCxnSpPr>
        <p:spPr>
          <a:xfrm>
            <a:off x="4625008" y="1412262"/>
            <a:ext cx="0" cy="3428095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8D60EA7-B7FA-81A2-9E23-18288CF1E73E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>
            <a:off x="3192840" y="3317145"/>
            <a:ext cx="1277076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BF8DD49D-A44E-1C0F-84B3-05114688C156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6783455" y="4264919"/>
            <a:ext cx="1669360" cy="12819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2F88118-B9DD-8307-D4CA-7E7C43547DEB}"/>
              </a:ext>
            </a:extLst>
          </p:cNvPr>
          <p:cNvSpPr txBox="1"/>
          <p:nvPr/>
        </p:nvSpPr>
        <p:spPr>
          <a:xfrm>
            <a:off x="4737239" y="3990528"/>
            <a:ext cx="1736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D</a:t>
            </a:r>
            <a:r>
              <a:rPr lang="en-CH" sz="1400" dirty="0"/>
              <a:t>rafting of R40.03 </a:t>
            </a:r>
          </a:p>
        </p:txBody>
      </p:sp>
      <p:sp>
        <p:nvSpPr>
          <p:cNvPr id="12" name="Scroll: Vertical 11">
            <a:extLst>
              <a:ext uri="{FF2B5EF4-FFF2-40B4-BE49-F238E27FC236}">
                <a16:creationId xmlns:a16="http://schemas.microsoft.com/office/drawing/2014/main" id="{DAA5BCD5-B3E6-DDC1-E50D-6F46A91A01B2}"/>
              </a:ext>
            </a:extLst>
          </p:cNvPr>
          <p:cNvSpPr/>
          <p:nvPr/>
        </p:nvSpPr>
        <p:spPr>
          <a:xfrm>
            <a:off x="5812114" y="3081443"/>
            <a:ext cx="387627" cy="456296"/>
          </a:xfrm>
          <a:prstGeom prst="verticalScroll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B2C4BF-F4CB-3458-73B5-B0931088FF25}"/>
              </a:ext>
            </a:extLst>
          </p:cNvPr>
          <p:cNvCxnSpPr>
            <a:cxnSpLocks/>
            <a:stCxn id="26" idx="3"/>
            <a:endCxn id="12" idx="1"/>
          </p:cNvCxnSpPr>
          <p:nvPr/>
        </p:nvCxnSpPr>
        <p:spPr>
          <a:xfrm flipV="1">
            <a:off x="4760637" y="3309591"/>
            <a:ext cx="1099930" cy="7554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4A982307-74E1-AF5B-3356-571884A81C4B}"/>
              </a:ext>
            </a:extLst>
          </p:cNvPr>
          <p:cNvCxnSpPr>
            <a:cxnSpLocks/>
            <a:endCxn id="36" idx="1"/>
          </p:cNvCxnSpPr>
          <p:nvPr/>
        </p:nvCxnSpPr>
        <p:spPr>
          <a:xfrm flipV="1">
            <a:off x="4625008" y="4297484"/>
            <a:ext cx="1771744" cy="821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EF9AFFE-5620-BA79-4B00-CA1D2A7B8FD7}"/>
              </a:ext>
            </a:extLst>
          </p:cNvPr>
          <p:cNvSpPr txBox="1"/>
          <p:nvPr/>
        </p:nvSpPr>
        <p:spPr>
          <a:xfrm>
            <a:off x="9555128" y="2554021"/>
            <a:ext cx="1133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March 2027</a:t>
            </a:r>
          </a:p>
        </p:txBody>
      </p:sp>
      <p:sp>
        <p:nvSpPr>
          <p:cNvPr id="55" name="Flowchart: Merge 54">
            <a:extLst>
              <a:ext uri="{FF2B5EF4-FFF2-40B4-BE49-F238E27FC236}">
                <a16:creationId xmlns:a16="http://schemas.microsoft.com/office/drawing/2014/main" id="{7225CC57-AEE7-0596-7F55-97BABDB3B341}"/>
              </a:ext>
            </a:extLst>
          </p:cNvPr>
          <p:cNvSpPr/>
          <p:nvPr/>
        </p:nvSpPr>
        <p:spPr>
          <a:xfrm>
            <a:off x="9931676" y="2129157"/>
            <a:ext cx="467140" cy="347869"/>
          </a:xfrm>
          <a:prstGeom prst="flowChartMerg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E20112A-6C4C-56BE-D876-A96E06C2105B}"/>
              </a:ext>
            </a:extLst>
          </p:cNvPr>
          <p:cNvSpPr txBox="1"/>
          <p:nvPr/>
        </p:nvSpPr>
        <p:spPr>
          <a:xfrm>
            <a:off x="9723575" y="1776925"/>
            <a:ext cx="8833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400" dirty="0"/>
              <a:t>WP.29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CC931C25-39AE-F004-9402-AE6F4250AF97}"/>
              </a:ext>
            </a:extLst>
          </p:cNvPr>
          <p:cNvCxnSpPr>
            <a:cxnSpLocks/>
          </p:cNvCxnSpPr>
          <p:nvPr/>
        </p:nvCxnSpPr>
        <p:spPr>
          <a:xfrm>
            <a:off x="8776255" y="4275735"/>
            <a:ext cx="138899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Flowchart: Merge 61">
            <a:extLst>
              <a:ext uri="{FF2B5EF4-FFF2-40B4-BE49-F238E27FC236}">
                <a16:creationId xmlns:a16="http://schemas.microsoft.com/office/drawing/2014/main" id="{0B116EFE-3401-1EBC-A1B8-9DCF2D230ACB}"/>
              </a:ext>
            </a:extLst>
          </p:cNvPr>
          <p:cNvSpPr/>
          <p:nvPr/>
        </p:nvSpPr>
        <p:spPr>
          <a:xfrm>
            <a:off x="5787885" y="2140875"/>
            <a:ext cx="467140" cy="347869"/>
          </a:xfrm>
          <a:prstGeom prst="flowChartMerg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251D228-0D5C-4C28-0B06-F257580CDC74}"/>
              </a:ext>
            </a:extLst>
          </p:cNvPr>
          <p:cNvSpPr txBox="1"/>
          <p:nvPr/>
        </p:nvSpPr>
        <p:spPr>
          <a:xfrm>
            <a:off x="6218583" y="1649168"/>
            <a:ext cx="6522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400" dirty="0"/>
              <a:t>94/</a:t>
            </a:r>
            <a:br>
              <a:rPr lang="en-CH" sz="1400" dirty="0"/>
            </a:br>
            <a:r>
              <a:rPr lang="en-CH" sz="1400" dirty="0"/>
              <a:t>GRPE</a:t>
            </a:r>
          </a:p>
        </p:txBody>
      </p:sp>
    </p:spTree>
    <p:extLst>
      <p:ext uri="{BB962C8B-B14F-4D97-AF65-F5344CB8AC3E}">
        <p14:creationId xmlns:p14="http://schemas.microsoft.com/office/powerpoint/2010/main" val="949377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0477C8-9FD0-768E-019A-CDF12115B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Thank you for your attention</a:t>
            </a:r>
            <a:br>
              <a:rPr lang="en-CH" dirty="0"/>
            </a:b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67728A4-2FD4-9071-9C37-3A028A8F5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6</a:t>
            </a:fld>
            <a:endParaRPr lang="en-GB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B7C3C28C-779D-1399-B092-BE7BB1617FC3}"/>
              </a:ext>
            </a:extLst>
          </p:cNvPr>
          <p:cNvSpPr txBox="1">
            <a:spLocks/>
          </p:cNvSpPr>
          <p:nvPr/>
        </p:nvSpPr>
        <p:spPr>
          <a:xfrm>
            <a:off x="0" y="6396106"/>
            <a:ext cx="12192000" cy="461894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IWG-EPPR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 Status Report </a:t>
            </a:r>
            <a:r>
              <a:rPr lang="en-CH" sz="1200" dirty="0">
                <a:solidFill>
                  <a:schemeClr val="bg1">
                    <a:lumMod val="50000"/>
                  </a:schemeClr>
                </a:solidFill>
              </a:rPr>
              <a:t>93/GRPE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958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364dcc34b3dbd037beb8fbdf20dd4dbf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c61a1fe3ab451427ff51e40490038fa6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B923683-5D5C-43A8-B70F-628AA7CD57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37AD66-B3E3-40F3-9C7E-645B1BE632C5}">
  <ds:schemaRefs>
    <ds:schemaRef ds:uri="acccb6d4-dbe5-46d2-b4d3-5733603d8cc6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www.w3.org/XML/1998/namespace"/>
    <ds:schemaRef ds:uri="985ec44e-1bab-4c0b-9df0-6ba128686fc9"/>
    <ds:schemaRef ds:uri="http://schemas.microsoft.com/office/2006/documentManagement/types"/>
    <ds:schemaRef ds:uri="4b4a1c0d-4a69-4996-a84a-fc699b9f49de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168B7B93-D360-43B4-A796-D5414158B90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f9e35db-544f-4f60-bdcc-5ea416e6dc70}" enabled="0" method="" siteId="{0f9e35db-544f-4f60-bdcc-5ea416e6dc70}" removed="1"/>
  <clbl:label id="{150cfa2a-f5d3-460a-ae30-e92179b1b1a9}" enabled="0" method="" siteId="{150cfa2a-f5d3-460a-ae30-e92179b1b1a9}" removed="1"/>
  <clbl:label id="{a7f2ec83-e677-438d-afb7-4c7c0dbc872b}" enabled="1" method="Standard" siteId="{3bc062e4-ac9d-4c17-b4dd-3aad637ff1a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510</TotalTime>
  <Words>449</Words>
  <Application>Microsoft Office PowerPoint</Application>
  <PresentationFormat>Widescreen</PresentationFormat>
  <Paragraphs>78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ptos</vt:lpstr>
      <vt:lpstr>Aptos Display</vt:lpstr>
      <vt:lpstr>Arial</vt:lpstr>
      <vt:lpstr>Calibri</vt:lpstr>
      <vt:lpstr>Symbol</vt:lpstr>
      <vt:lpstr>Wingdings</vt:lpstr>
      <vt:lpstr>Kantoorthema</vt:lpstr>
      <vt:lpstr>think-cell Folie</vt:lpstr>
      <vt:lpstr>Status Report to 93rd Session of GRPE (October 2025)</vt:lpstr>
      <vt:lpstr>IWG-EPPR – Meetings and Participants</vt:lpstr>
      <vt:lpstr>IWG-EPPR Overview</vt:lpstr>
      <vt:lpstr>PowerPoint Presentation</vt:lpstr>
      <vt:lpstr>PowerPoint Presentation</vt:lpstr>
      <vt:lpstr>Thank you for your atten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Lamberto Ventimiglia</cp:lastModifiedBy>
  <cp:revision>3</cp:revision>
  <dcterms:created xsi:type="dcterms:W3CDTF">2024-06-10T06:33:31Z</dcterms:created>
  <dcterms:modified xsi:type="dcterms:W3CDTF">2025-09-16T06:0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8422D08C252547BB1CFA7F78E2CB83</vt:lpwstr>
  </property>
  <property fmtid="{D5CDD505-2E9C-101B-9397-08002B2CF9AE}" pid="3" name="MediaServiceImageTags">
    <vt:lpwstr/>
  </property>
  <property fmtid="{D5CDD505-2E9C-101B-9397-08002B2CF9AE}" pid="4" name="gba66df640194346a5267c50f24d4797">
    <vt:lpwstr/>
  </property>
  <property fmtid="{D5CDD505-2E9C-101B-9397-08002B2CF9AE}" pid="5" name="Office_x0020_of_x0020_Origin">
    <vt:lpwstr/>
  </property>
  <property fmtid="{D5CDD505-2E9C-101B-9397-08002B2CF9AE}" pid="6" name="Office of Origin">
    <vt:lpwstr/>
  </property>
</Properties>
</file>